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0" r:id="rId2"/>
  </p:sldMasterIdLst>
  <p:sldIdLst>
    <p:sldId id="5271" r:id="rId3"/>
    <p:sldId id="256" r:id="rId4"/>
    <p:sldId id="5272" r:id="rId5"/>
    <p:sldId id="5278" r:id="rId6"/>
    <p:sldId id="5273" r:id="rId7"/>
    <p:sldId id="5274" r:id="rId8"/>
    <p:sldId id="5279" r:id="rId9"/>
  </p:sldIdLst>
  <p:sldSz cx="18288000" cy="10287000"/>
  <p:notesSz cx="6858000" cy="9144000"/>
  <p:embeddedFontLst>
    <p:embeddedFont>
      <p:font typeface="DM Sans 1" panose="020B0604020202020204" charset="0"/>
      <p:regular r:id="rId10"/>
    </p:embeddedFont>
    <p:embeddedFont>
      <p:font typeface="DM Sans 2" panose="020B0604020202020204" charset="0"/>
      <p:regular r:id="rId11"/>
    </p:embeddedFont>
    <p:embeddedFont>
      <p:font typeface="DM Sans 2 Bold" panose="020B0604020202020204" charset="0"/>
      <p:regular r:id="rId12"/>
    </p:embeddedFont>
    <p:embeddedFont>
      <p:font typeface="Open Sans Bold" panose="020B0604020202020204" charset="0"/>
      <p:regular r:id="rId13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1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70" d="100"/>
          <a:sy n="70" d="100"/>
        </p:scale>
        <p:origin x="774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4.fntdata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font" Target="fonts/font3.fntdata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2.fntdata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font" Target="fonts/font1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D1AA51-D695-2B46-875E-A953EB3D1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C9AFAD-C49B-1040-8FA0-79041CCF4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ahmenstrategie 2021 - Name Referent*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C27DF7-E53B-E240-9C62-AF038C0D70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</p:spTree>
    <p:extLst>
      <p:ext uri="{BB962C8B-B14F-4D97-AF65-F5344CB8AC3E}">
        <p14:creationId xmlns:p14="http://schemas.microsoft.com/office/powerpoint/2010/main" val="27397636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30659CD-7A28-F14F-BAB7-0F132D13F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174564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30659CD-7A28-F14F-BAB7-0F132D13F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1190813C-06BF-6846-9CB7-4CD4AD461D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247466" y="1206451"/>
            <a:ext cx="15060705" cy="847164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74CBDDB2-B78A-FF4C-3E2A-AEF6AE37A61F}"/>
              </a:ext>
            </a:extLst>
          </p:cNvPr>
          <p:cNvSpPr/>
          <p:nvPr userDrawn="1"/>
        </p:nvSpPr>
        <p:spPr>
          <a:xfrm>
            <a:off x="-1" y="-53847"/>
            <a:ext cx="11981330" cy="103408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5BB7336-83F4-7FC2-779A-5B1B1B1794E4}"/>
              </a:ext>
            </a:extLst>
          </p:cNvPr>
          <p:cNvSpPr/>
          <p:nvPr userDrawn="1"/>
        </p:nvSpPr>
        <p:spPr>
          <a:xfrm>
            <a:off x="6306671" y="-53847"/>
            <a:ext cx="11981330" cy="17280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E10D22B-68B3-78A7-1DA1-0F1AB0EF97A2}"/>
              </a:ext>
            </a:extLst>
          </p:cNvPr>
          <p:cNvSpPr/>
          <p:nvPr userDrawn="1"/>
        </p:nvSpPr>
        <p:spPr>
          <a:xfrm>
            <a:off x="6326840" y="9110805"/>
            <a:ext cx="11981330" cy="12300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3392043930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92E87808-D944-C24C-B300-BC465CFA3D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E75C6CD-2F35-EEB1-EE0C-D3691D4D1B4E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2770842232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1293384-A569-9E4E-9B48-7F81BCC4D2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6FFE28A-7E72-424D-1B01-AE7785EA7A6E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3378216635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1725035827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5D63B19-E5A2-80FB-D935-110B00C30C17}"/>
              </a:ext>
            </a:extLst>
          </p:cNvPr>
          <p:cNvGrpSpPr/>
          <p:nvPr userDrawn="1"/>
        </p:nvGrpSpPr>
        <p:grpSpPr>
          <a:xfrm>
            <a:off x="997528" y="2541514"/>
            <a:ext cx="16292945" cy="7305206"/>
            <a:chOff x="1439101" y="2020771"/>
            <a:chExt cx="7829277" cy="4547632"/>
          </a:xfrm>
        </p:grpSpPr>
        <p:sp>
          <p:nvSpPr>
            <p:cNvPr id="3" name="Inhaltsplatzhalter 1">
              <a:extLst>
                <a:ext uri="{FF2B5EF4-FFF2-40B4-BE49-F238E27FC236}">
                  <a16:creationId xmlns:a16="http://schemas.microsoft.com/office/drawing/2014/main" id="{F72A9BC4-6929-0BDF-EA8C-9E3A75BE198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2020771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5400"/>
            </a:p>
          </p:txBody>
        </p:sp>
        <p:sp>
          <p:nvSpPr>
            <p:cNvPr id="6" name="Inhaltsplatzhalter 1">
              <a:extLst>
                <a:ext uri="{FF2B5EF4-FFF2-40B4-BE49-F238E27FC236}">
                  <a16:creationId xmlns:a16="http://schemas.microsoft.com/office/drawing/2014/main" id="{62B87217-F7A0-EB1E-3347-B18516D55043}"/>
                </a:ext>
              </a:extLst>
            </p:cNvPr>
            <p:cNvSpPr txBox="1">
              <a:spLocks/>
            </p:cNvSpPr>
            <p:nvPr/>
          </p:nvSpPr>
          <p:spPr>
            <a:xfrm>
              <a:off x="5559545" y="2020771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>
                <a:latin typeface="Arial"/>
                <a:cs typeface="Arial"/>
              </a:endParaRPr>
            </a:p>
          </p:txBody>
        </p:sp>
        <p:sp>
          <p:nvSpPr>
            <p:cNvPr id="7" name="Inhaltsplatzhalter 1">
              <a:extLst>
                <a:ext uri="{FF2B5EF4-FFF2-40B4-BE49-F238E27FC236}">
                  <a16:creationId xmlns:a16="http://schemas.microsoft.com/office/drawing/2014/main" id="{40AB41A7-A5EF-9F23-D3EA-96544DABE56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4400845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 u="sng">
                <a:latin typeface="Arial"/>
                <a:cs typeface="Arial"/>
              </a:endParaRPr>
            </a:p>
          </p:txBody>
        </p:sp>
        <p:sp>
          <p:nvSpPr>
            <p:cNvPr id="8" name="Inhaltsplatzhalter 1">
              <a:extLst>
                <a:ext uri="{FF2B5EF4-FFF2-40B4-BE49-F238E27FC236}">
                  <a16:creationId xmlns:a16="http://schemas.microsoft.com/office/drawing/2014/main" id="{67E2A3B7-58EB-4458-3B10-90DE99356365}"/>
                </a:ext>
              </a:extLst>
            </p:cNvPr>
            <p:cNvSpPr txBox="1">
              <a:spLocks/>
            </p:cNvSpPr>
            <p:nvPr/>
          </p:nvSpPr>
          <p:spPr>
            <a:xfrm>
              <a:off x="5559544" y="4400845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750"/>
                </a:spcBef>
                <a:buFont typeface="Wingdings" pitchFamily="2" charset="2"/>
                <a:buNone/>
              </a:pPr>
              <a:endParaRPr lang="de-DE" sz="1800">
                <a:latin typeface="Arial"/>
                <a:cs typeface="Arial"/>
              </a:endParaRPr>
            </a:p>
          </p:txBody>
        </p:sp>
      </p:grpSp>
      <p:sp>
        <p:nvSpPr>
          <p:cNvPr id="9" name="Rechteck: abgerundete Ecken 3">
            <a:extLst>
              <a:ext uri="{FF2B5EF4-FFF2-40B4-BE49-F238E27FC236}">
                <a16:creationId xmlns:a16="http://schemas.microsoft.com/office/drawing/2014/main" id="{3A053A6A-0EAA-04DC-ABC7-5EED6FB00C20}"/>
              </a:ext>
            </a:extLst>
          </p:cNvPr>
          <p:cNvSpPr/>
          <p:nvPr userDrawn="1"/>
        </p:nvSpPr>
        <p:spPr>
          <a:xfrm rot="16200000">
            <a:off x="-517959" y="3312495"/>
            <a:ext cx="2546430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Sinn / Zweck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0" name="Rechteck: abgerundete Ecken 4">
            <a:extLst>
              <a:ext uri="{FF2B5EF4-FFF2-40B4-BE49-F238E27FC236}">
                <a16:creationId xmlns:a16="http://schemas.microsoft.com/office/drawing/2014/main" id="{F0CCB30F-CB06-C598-7853-9521CC08AD88}"/>
              </a:ext>
            </a:extLst>
          </p:cNvPr>
          <p:cNvSpPr/>
          <p:nvPr userDrawn="1"/>
        </p:nvSpPr>
        <p:spPr>
          <a:xfrm rot="5400000">
            <a:off x="15746195" y="3908704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Personen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1" name="Rechteck: abgerundete Ecken 9">
            <a:extLst>
              <a:ext uri="{FF2B5EF4-FFF2-40B4-BE49-F238E27FC236}">
                <a16:creationId xmlns:a16="http://schemas.microsoft.com/office/drawing/2014/main" id="{4FA47FA2-6996-50EA-9538-F5AB64FCD3C0}"/>
              </a:ext>
            </a:extLst>
          </p:cNvPr>
          <p:cNvSpPr/>
          <p:nvPr userDrawn="1"/>
        </p:nvSpPr>
        <p:spPr>
          <a:xfrm rot="16200000">
            <a:off x="-1562902" y="7428405"/>
            <a:ext cx="4611698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Meilensteine</a:t>
            </a:r>
            <a:endParaRPr lang="de-DE" sz="2700">
              <a:solidFill>
                <a:schemeClr val="bg2"/>
              </a:solidFill>
            </a:endParaRPr>
          </a:p>
        </p:txBody>
      </p:sp>
      <p:sp>
        <p:nvSpPr>
          <p:cNvPr id="12" name="Rechteck: abgerundete Ecken 3">
            <a:extLst>
              <a:ext uri="{FF2B5EF4-FFF2-40B4-BE49-F238E27FC236}">
                <a16:creationId xmlns:a16="http://schemas.microsoft.com/office/drawing/2014/main" id="{7496811C-2CE1-103A-D10B-12B52646780A}"/>
              </a:ext>
            </a:extLst>
          </p:cNvPr>
          <p:cNvSpPr/>
          <p:nvPr userDrawn="1"/>
        </p:nvSpPr>
        <p:spPr>
          <a:xfrm rot="16200000">
            <a:off x="-108177" y="915967"/>
            <a:ext cx="1024341" cy="355112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1500">
                <a:solidFill>
                  <a:schemeClr val="bg2"/>
                </a:solidFill>
                <a:latin typeface="Arial"/>
                <a:cs typeface="Arial"/>
              </a:rPr>
              <a:t>Auftrag</a:t>
            </a:r>
            <a:endParaRPr lang="de-DE" sz="15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3" name="Rechteck: abgerundete Ecken 3">
            <a:extLst>
              <a:ext uri="{FF2B5EF4-FFF2-40B4-BE49-F238E27FC236}">
                <a16:creationId xmlns:a16="http://schemas.microsoft.com/office/drawing/2014/main" id="{02C7822C-199B-EC64-C87A-B12A5C5A31D7}"/>
              </a:ext>
            </a:extLst>
          </p:cNvPr>
          <p:cNvSpPr/>
          <p:nvPr userDrawn="1"/>
        </p:nvSpPr>
        <p:spPr>
          <a:xfrm>
            <a:off x="581550" y="477803"/>
            <a:ext cx="3170646" cy="1262013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endParaRPr lang="de-DE" sz="99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4" name="Rechteck: abgerundete Ecken 3">
            <a:extLst>
              <a:ext uri="{FF2B5EF4-FFF2-40B4-BE49-F238E27FC236}">
                <a16:creationId xmlns:a16="http://schemas.microsoft.com/office/drawing/2014/main" id="{074EFF40-F5F0-915B-357F-9B981BF560B5}"/>
              </a:ext>
            </a:extLst>
          </p:cNvPr>
          <p:cNvSpPr/>
          <p:nvPr userDrawn="1"/>
        </p:nvSpPr>
        <p:spPr>
          <a:xfrm>
            <a:off x="3426542" y="581352"/>
            <a:ext cx="118896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Rechteck: abgerundete Ecken 3">
            <a:extLst>
              <a:ext uri="{FF2B5EF4-FFF2-40B4-BE49-F238E27FC236}">
                <a16:creationId xmlns:a16="http://schemas.microsoft.com/office/drawing/2014/main" id="{ADAD1F71-9D7A-45A2-7D20-E5D6FA872D27}"/>
              </a:ext>
            </a:extLst>
          </p:cNvPr>
          <p:cNvSpPr/>
          <p:nvPr userDrawn="1"/>
        </p:nvSpPr>
        <p:spPr>
          <a:xfrm>
            <a:off x="15539971" y="582863"/>
            <a:ext cx="24078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marL="0" indent="0">
              <a:buNone/>
            </a:pPr>
            <a:endParaRPr lang="de-DE" sz="300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6" name="Rechteck: abgerundete Ecken 4">
            <a:extLst>
              <a:ext uri="{FF2B5EF4-FFF2-40B4-BE49-F238E27FC236}">
                <a16:creationId xmlns:a16="http://schemas.microsoft.com/office/drawing/2014/main" id="{67351508-2EB7-AE8F-2662-9EABF36AD2FF}"/>
              </a:ext>
            </a:extLst>
          </p:cNvPr>
          <p:cNvSpPr/>
          <p:nvPr userDrawn="1"/>
        </p:nvSpPr>
        <p:spPr>
          <a:xfrm rot="5400000">
            <a:off x="15746193" y="7915927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algn="r"/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Erfolgskriterien</a:t>
            </a:r>
            <a:endParaRPr lang="en-US" sz="2700">
              <a:solidFill>
                <a:schemeClr val="bg2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94633418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0713CEF-9EFC-B647-8CD3-E6C7C2D69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9447009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0713CEF-9EFC-B647-8CD3-E6C7C2D69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9482F3-47FC-F341-9CD0-3010811904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6339" y="2738438"/>
            <a:ext cx="16257407" cy="6527007"/>
          </a:xfrm>
        </p:spPr>
        <p:txBody>
          <a:bodyPr/>
          <a:lstStyle>
            <a:lvl1pPr marL="428625" marR="0" indent="-428625" algn="l" defTabSz="13716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1028700" marR="0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 sz="2400" baseline="0">
                <a:latin typeface="Arial" panose="020B0604020202020204" pitchFamily="34" charset="0"/>
              </a:defRPr>
            </a:lvl2pPr>
            <a:lvl3pPr marL="1714500" marR="0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2400" baseline="0">
                <a:latin typeface="Arial" panose="020B0604020202020204" pitchFamily="34" charset="0"/>
              </a:defRPr>
            </a:lvl3pPr>
          </a:lstStyle>
          <a:p>
            <a:pPr marL="428625" marR="0" lvl="0" indent="-428625" algn="l" defTabSz="13716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fzählung Ebene 1</a:t>
            </a:r>
          </a:p>
          <a:p>
            <a:pPr marL="1028700" marR="0" lvl="1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2</a:t>
            </a:r>
          </a:p>
          <a:p>
            <a:pPr marL="1714500" marR="0" lvl="2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3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i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0C6BFEEB-ECFF-4C48-92FE-312C51CB0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468670527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8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979A643-0C58-9640-84A1-E0C560C252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8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3C25E9D5-8FA4-B94E-8C8C-1BB0DC4D6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971670399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70C6C35-A5AF-7D48-AB66-64768F12D45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12413745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15FF0338-6CCB-CD4C-8FBA-94EB4C882AC9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715041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94D9109E-1BE1-8E40-B857-0CCB6654F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58046444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087414568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ein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3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8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39" y="2576676"/>
            <a:ext cx="5909115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8" y="4870642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8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8" y="7305313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4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ECC58060-1838-DC42-8727-D88889BEED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777199547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mehr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3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8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39" y="2576676"/>
            <a:ext cx="5909115" cy="892040"/>
          </a:xfr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8" y="4870642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8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8" y="7305313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4"/>
            <a:ext cx="9534318" cy="892040"/>
          </a:xfr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C88DE74A-C8FD-8049-BD0C-FFC9C123D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691630014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4775" y="359766"/>
            <a:ext cx="17558214" cy="9601200"/>
          </a:xfrm>
          <a:solidFill>
            <a:schemeClr val="tx1">
              <a:lumMod val="85000"/>
              <a:alpha val="90000"/>
            </a:schemeClr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unk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5" y="9324976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FAAE7FF-208F-2043-85E9-9A33928EFA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58944" y="547689"/>
            <a:ext cx="4244486" cy="1427391"/>
          </a:xfrm>
          <a:prstGeom prst="rect">
            <a:avLst/>
          </a:prstGeom>
        </p:spPr>
      </p:pic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26BA3A1E-5EFF-5040-B178-505B1F9D0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48628352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8288000" cy="10287000"/>
          </a:xfrm>
          <a:solidFill>
            <a:schemeClr val="tx1">
              <a:lumMod val="85000"/>
              <a:alpha val="1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Hel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5" y="9324976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effectLst/>
              </a:defRPr>
            </a:lvl1pPr>
          </a:lstStyle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A2FB161-2A9F-624D-AE19-35B69F7CF4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F353D9CE-E466-E941-85FA-8E7D10B44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08735962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chemeClr val="bg2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2" y="9684692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chemeClr val="bg2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38" y="9684692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chemeClr val="bg2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594985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736188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rgbClr val="002060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2" y="9684692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rgbClr val="002060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38" y="9684692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rgbClr val="00206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7731085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mensschild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C55A511F-315F-C340-BD8B-8AE029B862BD}"/>
              </a:ext>
            </a:extLst>
          </p:cNvPr>
          <p:cNvSpPr txBox="1">
            <a:spLocks/>
          </p:cNvSpPr>
          <p:nvPr userDrawn="1"/>
        </p:nvSpPr>
        <p:spPr>
          <a:xfrm>
            <a:off x="714587" y="3534294"/>
            <a:ext cx="17047634" cy="5257662"/>
          </a:xfrm>
          <a:prstGeom prst="rect">
            <a:avLst/>
          </a:prstGeom>
        </p:spPr>
        <p:txBody>
          <a:bodyPr vert="horz" lIns="137160" tIns="68580" rIns="137160" bIns="6858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0" b="1">
                <a:solidFill>
                  <a:srgbClr val="002060"/>
                </a:solidFill>
              </a:rPr>
              <a:t>Vorname Nachname </a:t>
            </a:r>
          </a:p>
          <a:p>
            <a:r>
              <a:rPr lang="de-DE" sz="12000" b="1">
                <a:solidFill>
                  <a:srgbClr val="002060"/>
                </a:solidFill>
              </a:rPr>
              <a:t>Arial 80 fet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B6426EF-1B3D-9943-BF06-7D7DC2FC2B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433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gramm Kreis Typ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F8C62A-4B23-CE45-B7AA-54E9CA5DA9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-332898"/>
            <a:ext cx="12268148" cy="19883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iagrammtyp weiß auf gelb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1" smtClean="0">
                <a:solidFill>
                  <a:schemeClr val="bg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55D0E25-9961-8043-AA46-3AC558D78E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58944" y="547689"/>
            <a:ext cx="4244486" cy="1427391"/>
          </a:xfrm>
          <a:prstGeom prst="rect">
            <a:avLst/>
          </a:prstGeom>
        </p:spPr>
      </p:pic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DF168C96-70C0-F34C-A975-633C6C126D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8"/>
            <a:ext cx="7830000" cy="6527007"/>
          </a:xfrm>
        </p:spPr>
        <p:txBody>
          <a:bodyPr/>
          <a:lstStyle>
            <a:lvl1pPr marL="428625" indent="-428625">
              <a:buFont typeface="Arial" panose="020B0604020202020204" pitchFamily="34" charset="0"/>
              <a:buChar char="•"/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extformat bearbeiten</a:t>
            </a:r>
          </a:p>
          <a:p>
            <a:r>
              <a:rPr lang="de-DE"/>
              <a:t>Zweite Ebene
Dritte Ebene</a:t>
            </a:r>
          </a:p>
        </p:txBody>
      </p:sp>
    </p:spTree>
    <p:extLst>
      <p:ext uri="{BB962C8B-B14F-4D97-AF65-F5344CB8AC3E}">
        <p14:creationId xmlns:p14="http://schemas.microsoft.com/office/powerpoint/2010/main" val="19991312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7953923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74225-EF49-6348-8C26-43C1B6383A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941841689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7772400" imgH="10058400" progId="TCLayout.ActiveDocument.1">
                  <p:embed/>
                </p:oleObj>
              </mc:Choice>
              <mc:Fallback>
                <p:oleObj name="think-cell Folie" r:id="rId23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74225-EF49-6348-8C26-43C1B6383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41E4E78-D2FB-3C4E-8A7C-9A37C9024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940A25-EF3D-C84E-A40B-ED09A649A6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16338" y="2738438"/>
            <a:ext cx="15890123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Aufzählung Ebene 1</a:t>
            </a:r>
          </a:p>
          <a:p>
            <a:pPr lvl="1">
              <a:buFont typeface="Symbol" pitchFamily="2" charset="2"/>
              <a:buChar char="-"/>
            </a:pPr>
            <a:r>
              <a:rPr lang="de-DE"/>
              <a:t>Aufzählung Ebene 2</a:t>
            </a:r>
          </a:p>
          <a:p>
            <a:pPr lvl="2">
              <a:buFont typeface="Wingdings" pitchFamily="2" charset="2"/>
              <a:buChar char="§"/>
            </a:pPr>
            <a:r>
              <a:rPr lang="de-DE"/>
              <a:t>Aufzählung Ebene 3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233BDC-86F5-7449-BC8F-7F298F4C1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Rahmenstrategie 2021 - Name Referent*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9A5F7AE-597D-E04B-8DFD-F573619ABB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06363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8F67B18-44D9-150C-A90C-80E42671A3B2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rcRect/>
          <a:stretch/>
        </p:blipFill>
        <p:spPr>
          <a:xfrm>
            <a:off x="13158944" y="662091"/>
            <a:ext cx="4244486" cy="119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864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ftr="0" dt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28625" indent="-428625" algn="l" defTabSz="1371600" rtl="0" eaLnBrk="1" latinLnBrk="0" hangingPunct="1">
        <a:lnSpc>
          <a:spcPct val="110000"/>
        </a:lnSpc>
        <a:spcBef>
          <a:spcPts val="1500"/>
        </a:spcBef>
        <a:buFont typeface="Arial" panose="020B0604020202020204" pitchFamily="34" charset="0"/>
        <a:buChar char="•"/>
        <a:defRPr sz="27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028700" indent="-342900" algn="l" defTabSz="1371600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7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595">
          <p15:clr>
            <a:srgbClr val="F26B43"/>
          </p15:clr>
        </p15:guide>
        <p15:guide id="4" pos="71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stadt-gestalten/planungskonzepte/flaechennutzungsplanung/flaechennutzungsplan-windenergie" TargetMode="External"/><Relationship Id="rId3" Type="http://schemas.openxmlformats.org/officeDocument/2006/relationships/image" Target="../media/image14.png"/><Relationship Id="rId7" Type="http://schemas.openxmlformats.org/officeDocument/2006/relationships/hyperlink" Target="https://www.umweltbundesamt.de/sites/default/files/medien/1410/publikationen/2022-12-15_cc_04-2022_klimaschutzpotenziale_in_kommunen.pdf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ons.wikimedia.org/wiki/File:Planung_(27571392121).jpg" TargetMode="External"/><Relationship Id="rId5" Type="http://schemas.openxmlformats.org/officeDocument/2006/relationships/hyperlink" Target="https://mitmachen-wiki.germanzero.org/w/LocalZero:W%C3%A4rmeplanung" TargetMode="External"/><Relationship Id="rId10" Type="http://schemas.openxmlformats.org/officeDocument/2006/relationships/image" Target="../media/image16.svg"/><Relationship Id="rId4" Type="http://schemas.openxmlformats.org/officeDocument/2006/relationships/image" Target="../media/image13.pn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mitmachen-wiki.germanzero.org/wiki/images/8/84/24-06-25_Gute_W%C3%A4rmeplanung_GZ.pdf" TargetMode="Externa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umweltbundesamt.de/sites/default/files/medien/1410/publikationen/2022-12-15_cc_04-2022_klimaschutzpotenziale_in_kommunen.pdf" TargetMode="External"/><Relationship Id="rId13" Type="http://schemas.openxmlformats.org/officeDocument/2006/relationships/image" Target="../media/image21.svg"/><Relationship Id="rId18" Type="http://schemas.openxmlformats.org/officeDocument/2006/relationships/hyperlink" Target="https://klimaweg.net/best-practice/rechenzentrum-heinrich-der-loewe-beheizt-neubaugebiet/" TargetMode="External"/><Relationship Id="rId3" Type="http://schemas.openxmlformats.org/officeDocument/2006/relationships/image" Target="../media/image15.png"/><Relationship Id="rId21" Type="http://schemas.openxmlformats.org/officeDocument/2006/relationships/hyperlink" Target="https://klimaweg.net/best-practice/einsatz-einer-abwasserwaermepumpe-im-neckarpark-stuttgart/" TargetMode="External"/><Relationship Id="rId7" Type="http://schemas.openxmlformats.org/officeDocument/2006/relationships/hyperlink" Target="https://unsplash.com/de/fotos/brauner-metallturm-a_PDPUPuNZ8" TargetMode="External"/><Relationship Id="rId12" Type="http://schemas.openxmlformats.org/officeDocument/2006/relationships/image" Target="../media/image20.png"/><Relationship Id="rId17" Type="http://schemas.openxmlformats.org/officeDocument/2006/relationships/image" Target="../media/image25.svg"/><Relationship Id="rId2" Type="http://schemas.openxmlformats.org/officeDocument/2006/relationships/image" Target="../media/image12.png"/><Relationship Id="rId16" Type="http://schemas.openxmlformats.org/officeDocument/2006/relationships/image" Target="../media/image24.png"/><Relationship Id="rId20" Type="http://schemas.openxmlformats.org/officeDocument/2006/relationships/hyperlink" Target="https://klimaweg.net/best-practice/waermespeicher-fuer-kommunales-waermenetz-in-meldorf/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11" Type="http://schemas.openxmlformats.org/officeDocument/2006/relationships/image" Target="../media/image19.svg"/><Relationship Id="rId24" Type="http://schemas.openxmlformats.org/officeDocument/2006/relationships/hyperlink" Target="https://klimaweg.net/best-practice/freiflaechen-solarthermie-fuer-kommunale-waermenetze/" TargetMode="External"/><Relationship Id="rId5" Type="http://schemas.openxmlformats.org/officeDocument/2006/relationships/image" Target="../media/image17.jpeg"/><Relationship Id="rId15" Type="http://schemas.openxmlformats.org/officeDocument/2006/relationships/image" Target="../media/image23.svg"/><Relationship Id="rId23" Type="http://schemas.openxmlformats.org/officeDocument/2006/relationships/hyperlink" Target="https://klimaweg.net/best-practice/tiefengeothermie-fuer-kommunales-waermenetz-in-munster/" TargetMode="External"/><Relationship Id="rId10" Type="http://schemas.openxmlformats.org/officeDocument/2006/relationships/image" Target="../media/image18.png"/><Relationship Id="rId19" Type="http://schemas.openxmlformats.org/officeDocument/2006/relationships/hyperlink" Target="https://klimaweg.net/best-practice/oberflaechennahe-geothermie-fuer-kommunales-waermenetz/" TargetMode="External"/><Relationship Id="rId4" Type="http://schemas.openxmlformats.org/officeDocument/2006/relationships/image" Target="../media/image16.svg"/><Relationship Id="rId9" Type="http://schemas.openxmlformats.org/officeDocument/2006/relationships/hyperlink" Target="https://www.mannheim.de/de/stadt-gestalten/planungskonzepte/flaechennutzungsplanung/flaechennutzungsplan-windenergie" TargetMode="External"/><Relationship Id="rId14" Type="http://schemas.openxmlformats.org/officeDocument/2006/relationships/image" Target="../media/image22.png"/><Relationship Id="rId22" Type="http://schemas.openxmlformats.org/officeDocument/2006/relationships/hyperlink" Target="https://klimaweg.net/best-practice/einsatz-einer-flusswaermepumpe-zur-kommunalen-waermeversorgung-in-mannheim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hyperlink" Target="https://www.mannheim.de/de/stadt-gestalten/planungskonzepte/flaechennutzungsplanung/flaechennutzungsplan-windenergie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umweltbundesamt.de/sites/default/files/medien/1410/publikationen/2022-12-15_cc_04-2022_klimaschutzpotenziale_in_kommunen.pdf" TargetMode="External"/><Relationship Id="rId5" Type="http://schemas.openxmlformats.org/officeDocument/2006/relationships/hyperlink" Target="https://unsplash.com/de/fotos/brauner-metallturm-a_PDPUPuNZ8" TargetMode="Externa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stadt-gestalten/planungskonzepte/flaechennutzungsplanung/flaechennutzungsplan-windenergie" TargetMode="External"/><Relationship Id="rId3" Type="http://schemas.openxmlformats.org/officeDocument/2006/relationships/image" Target="../media/image26.jpeg"/><Relationship Id="rId7" Type="http://schemas.openxmlformats.org/officeDocument/2006/relationships/hyperlink" Target="https://www.bverwg.de/080916U10CN1.15.0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umweltbundesamt.de/sites/default/files/medien/1410/publikationen/2022-12-15_cc_04-2022_klimaschutzpotenziale_in_kommunen.pdf" TargetMode="External"/><Relationship Id="rId5" Type="http://schemas.openxmlformats.org/officeDocument/2006/relationships/hyperlink" Target="https://unsplash.com/de/fotos/eine-luftaufnahme-einer-stadt-mit-vielen-baumen-NhY5NE9H_x8" TargetMode="External"/><Relationship Id="rId10" Type="http://schemas.openxmlformats.org/officeDocument/2006/relationships/image" Target="../media/image16.svg"/><Relationship Id="rId4" Type="http://schemas.openxmlformats.org/officeDocument/2006/relationships/image" Target="../media/image13.png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58DE3F4-531E-B80B-2C92-DFF4C68D8E9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LocalZero</a:t>
            </a:r>
            <a:r>
              <a:rPr lang="de-DE" dirty="0"/>
              <a:t> Top-Maßnahmen Wärme  </a:t>
            </a:r>
          </a:p>
        </p:txBody>
      </p:sp>
    </p:spTree>
    <p:extLst>
      <p:ext uri="{BB962C8B-B14F-4D97-AF65-F5344CB8AC3E}">
        <p14:creationId xmlns:p14="http://schemas.microsoft.com/office/powerpoint/2010/main" val="3584298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756D7BE2-770F-61B4-1930-E84DF2CB6618}"/>
              </a:ext>
            </a:extLst>
          </p:cNvPr>
          <p:cNvSpPr/>
          <p:nvPr/>
        </p:nvSpPr>
        <p:spPr>
          <a:xfrm>
            <a:off x="3225027" y="4449069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5A9D2095-D3D5-274C-77E4-EB5442D55DDE}"/>
              </a:ext>
            </a:extLst>
          </p:cNvPr>
          <p:cNvSpPr/>
          <p:nvPr/>
        </p:nvSpPr>
        <p:spPr>
          <a:xfrm>
            <a:off x="3225027" y="3681997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1747700" cy="339603"/>
            <a:chOff x="0" y="0"/>
            <a:chExt cx="2330266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330266" cy="452804"/>
              <a:chOff x="0" y="0"/>
              <a:chExt cx="647296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647296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647296" h="125779">
                    <a:moveTo>
                      <a:pt x="0" y="0"/>
                    </a:moveTo>
                    <a:lnTo>
                      <a:pt x="647296" y="0"/>
                    </a:lnTo>
                    <a:lnTo>
                      <a:pt x="647296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647296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56356" y="18756"/>
              <a:ext cx="2217553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Wärme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9" name="Freeform 39"/>
          <p:cNvSpPr/>
          <p:nvPr/>
        </p:nvSpPr>
        <p:spPr>
          <a:xfrm>
            <a:off x="888023" y="548802"/>
            <a:ext cx="1458512" cy="1071224"/>
          </a:xfrm>
          <a:custGeom>
            <a:avLst/>
            <a:gdLst/>
            <a:ahLst/>
            <a:cxnLst/>
            <a:rect l="l" t="t" r="r" b="b"/>
            <a:pathLst>
              <a:path w="1458512" h="1071224">
                <a:moveTo>
                  <a:pt x="0" y="0"/>
                </a:moveTo>
                <a:lnTo>
                  <a:pt x="1458512" y="0"/>
                </a:lnTo>
                <a:lnTo>
                  <a:pt x="1458512" y="1071224"/>
                </a:lnTo>
                <a:lnTo>
                  <a:pt x="0" y="107122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0" name="TextBox 50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1</a:t>
            </a:r>
          </a:p>
        </p:txBody>
      </p:sp>
      <p:sp>
        <p:nvSpPr>
          <p:cNvPr id="53" name="TextBox 53"/>
          <p:cNvSpPr txBox="1"/>
          <p:nvPr/>
        </p:nvSpPr>
        <p:spPr>
          <a:xfrm>
            <a:off x="2760366" y="1196896"/>
            <a:ext cx="11894274" cy="5138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4200"/>
              </a:lnSpc>
            </a:pP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OP-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</a:t>
            </a: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Sektor 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ärme</a:t>
            </a:r>
            <a:endParaRPr lang="en-US" sz="3000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56" name="TextBox 43">
            <a:extLst>
              <a:ext uri="{FF2B5EF4-FFF2-40B4-BE49-F238E27FC236}">
                <a16:creationId xmlns:a16="http://schemas.microsoft.com/office/drawing/2014/main" id="{1285EDD3-05EA-ED68-BAAB-81FC793672E6}"/>
              </a:ext>
            </a:extLst>
          </p:cNvPr>
          <p:cNvSpPr txBox="1"/>
          <p:nvPr/>
        </p:nvSpPr>
        <p:spPr>
          <a:xfrm>
            <a:off x="517221" y="2125513"/>
            <a:ext cx="17155108" cy="7016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en:		Enabling-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	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Planerisch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echnisch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  <a:p>
            <a:pPr>
              <a:lnSpc>
                <a:spcPts val="2799"/>
              </a:lnSpc>
            </a:pP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		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nabling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Dritter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, die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tech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Maßnahme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umzusetz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		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Veränderung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der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Rahmenbedingung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			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insparung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bspw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durch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Reduktio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des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nergieverbrauchs</a:t>
            </a:r>
            <a:endParaRPr lang="en-US" sz="1200" dirty="0">
              <a:solidFill>
                <a:srgbClr val="011633"/>
              </a:solidFill>
              <a:latin typeface="DM Sans 2" panose="020B0604020202020204" charset="0"/>
              <a:ea typeface="DM Sans 1"/>
              <a:cs typeface="DM Sans 1"/>
              <a:sym typeface="DM Sans 1"/>
            </a:endParaRPr>
          </a:p>
        </p:txBody>
      </p:sp>
      <p:sp>
        <p:nvSpPr>
          <p:cNvPr id="58" name="Freeform 13">
            <a:extLst>
              <a:ext uri="{FF2B5EF4-FFF2-40B4-BE49-F238E27FC236}">
                <a16:creationId xmlns:a16="http://schemas.microsoft.com/office/drawing/2014/main" id="{8C03DFCB-247F-C617-879A-DCB9933FB2E5}"/>
              </a:ext>
            </a:extLst>
          </p:cNvPr>
          <p:cNvSpPr/>
          <p:nvPr/>
        </p:nvSpPr>
        <p:spPr>
          <a:xfrm>
            <a:off x="3874726" y="2217706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59" name="Group 52">
            <a:extLst>
              <a:ext uri="{FF2B5EF4-FFF2-40B4-BE49-F238E27FC236}">
                <a16:creationId xmlns:a16="http://schemas.microsoft.com/office/drawing/2014/main" id="{0A5426D8-9A76-A0C7-3A1C-9C7EAEF8C249}"/>
              </a:ext>
            </a:extLst>
          </p:cNvPr>
          <p:cNvGrpSpPr/>
          <p:nvPr/>
        </p:nvGrpSpPr>
        <p:grpSpPr>
          <a:xfrm>
            <a:off x="8422875" y="2217705"/>
            <a:ext cx="188501" cy="188501"/>
            <a:chOff x="0" y="0"/>
            <a:chExt cx="812800" cy="812800"/>
          </a:xfrm>
        </p:grpSpPr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620CA846-6A01-6186-373D-6E7999546167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" name="TextBox 54">
              <a:extLst>
                <a:ext uri="{FF2B5EF4-FFF2-40B4-BE49-F238E27FC236}">
                  <a16:creationId xmlns:a16="http://schemas.microsoft.com/office/drawing/2014/main" id="{115EB7AF-3670-35F6-6E28-2DC32CBF6D23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sp>
        <p:nvSpPr>
          <p:cNvPr id="62" name="Flussdiagramm: Verbinder 61">
            <a:extLst>
              <a:ext uri="{FF2B5EF4-FFF2-40B4-BE49-F238E27FC236}">
                <a16:creationId xmlns:a16="http://schemas.microsoft.com/office/drawing/2014/main" id="{C3E2C8C2-1129-36FB-DA2A-5812A2EB0669}"/>
              </a:ext>
            </a:extLst>
          </p:cNvPr>
          <p:cNvSpPr/>
          <p:nvPr/>
        </p:nvSpPr>
        <p:spPr>
          <a:xfrm>
            <a:off x="13047602" y="2221570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TextBox 42">
            <a:extLst>
              <a:ext uri="{FF2B5EF4-FFF2-40B4-BE49-F238E27FC236}">
                <a16:creationId xmlns:a16="http://schemas.microsoft.com/office/drawing/2014/main" id="{A7928D6E-8B4A-E924-CC49-0BC0428F996B}"/>
              </a:ext>
            </a:extLst>
          </p:cNvPr>
          <p:cNvSpPr txBox="1"/>
          <p:nvPr/>
        </p:nvSpPr>
        <p:spPr>
          <a:xfrm>
            <a:off x="517221" y="3238500"/>
            <a:ext cx="17155108" cy="228171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1			Wärmeplanung beauftragen bzw. erstell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2			Dekarbonisierung bestehender Fernwärmenetze und Ausbau grüner Wärmenetze durch Erschließung erneuerbarer 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				Wärmequell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3			Umsetzung von Effizienzmaßnahmen in Wärmenetzen (u.a. Temperaturreduzierung, hydraulische Optimierung)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4			Beratung und Motivation zur Verdichtung und Erweiterung von Wärmenetzen in bestehenden Wohngebieten bzw. 					Anschluss- und 	Benutzungszwang</a:t>
            </a:r>
          </a:p>
        </p:txBody>
      </p:sp>
      <p:grpSp>
        <p:nvGrpSpPr>
          <p:cNvPr id="67" name="Group 52">
            <a:extLst>
              <a:ext uri="{FF2B5EF4-FFF2-40B4-BE49-F238E27FC236}">
                <a16:creationId xmlns:a16="http://schemas.microsoft.com/office/drawing/2014/main" id="{D45915AF-17DE-B478-7C74-58DBB5558414}"/>
              </a:ext>
            </a:extLst>
          </p:cNvPr>
          <p:cNvGrpSpPr/>
          <p:nvPr/>
        </p:nvGrpSpPr>
        <p:grpSpPr>
          <a:xfrm>
            <a:off x="2543421" y="4864289"/>
            <a:ext cx="188501" cy="188501"/>
            <a:chOff x="0" y="0"/>
            <a:chExt cx="812800" cy="812800"/>
          </a:xfrm>
        </p:grpSpPr>
        <p:sp>
          <p:nvSpPr>
            <p:cNvPr id="68" name="Freeform 53">
              <a:extLst>
                <a:ext uri="{FF2B5EF4-FFF2-40B4-BE49-F238E27FC236}">
                  <a16:creationId xmlns:a16="http://schemas.microsoft.com/office/drawing/2014/main" id="{C01CF73E-330E-9F2C-C346-55C5D3EA319D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>
                <a:solidFill>
                  <a:srgbClr val="112540"/>
                </a:solidFill>
              </a:endParaRPr>
            </a:p>
          </p:txBody>
        </p:sp>
        <p:sp>
          <p:nvSpPr>
            <p:cNvPr id="69" name="TextBox 54">
              <a:extLst>
                <a:ext uri="{FF2B5EF4-FFF2-40B4-BE49-F238E27FC236}">
                  <a16:creationId xmlns:a16="http://schemas.microsoft.com/office/drawing/2014/main" id="{A42ED5A1-D10F-2E3A-E4B7-AC7A522FA587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sp>
        <p:nvSpPr>
          <p:cNvPr id="70" name="Flussdiagramm: Verbinder 69">
            <a:extLst>
              <a:ext uri="{FF2B5EF4-FFF2-40B4-BE49-F238E27FC236}">
                <a16:creationId xmlns:a16="http://schemas.microsoft.com/office/drawing/2014/main" id="{9F43FD57-8240-E976-5DAF-B8607053872D}"/>
              </a:ext>
            </a:extLst>
          </p:cNvPr>
          <p:cNvSpPr/>
          <p:nvPr/>
        </p:nvSpPr>
        <p:spPr>
          <a:xfrm>
            <a:off x="2818929" y="3720009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Flussdiagramm: Verbinder 70">
            <a:extLst>
              <a:ext uri="{FF2B5EF4-FFF2-40B4-BE49-F238E27FC236}">
                <a16:creationId xmlns:a16="http://schemas.microsoft.com/office/drawing/2014/main" id="{BFCA62DA-D67E-0C6F-9FE0-F3F2BAD340E7}"/>
              </a:ext>
            </a:extLst>
          </p:cNvPr>
          <p:cNvSpPr/>
          <p:nvPr/>
        </p:nvSpPr>
        <p:spPr>
          <a:xfrm>
            <a:off x="2818928" y="4514974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72" name="Group 52">
            <a:extLst>
              <a:ext uri="{FF2B5EF4-FFF2-40B4-BE49-F238E27FC236}">
                <a16:creationId xmlns:a16="http://schemas.microsoft.com/office/drawing/2014/main" id="{07175EC8-D502-E3F1-2BB5-08AE047A6384}"/>
              </a:ext>
            </a:extLst>
          </p:cNvPr>
          <p:cNvGrpSpPr/>
          <p:nvPr/>
        </p:nvGrpSpPr>
        <p:grpSpPr>
          <a:xfrm>
            <a:off x="2543420" y="3340416"/>
            <a:ext cx="188501" cy="188501"/>
            <a:chOff x="0" y="0"/>
            <a:chExt cx="812800" cy="812800"/>
          </a:xfrm>
        </p:grpSpPr>
        <p:sp>
          <p:nvSpPr>
            <p:cNvPr id="73" name="Freeform 53">
              <a:extLst>
                <a:ext uri="{FF2B5EF4-FFF2-40B4-BE49-F238E27FC236}">
                  <a16:creationId xmlns:a16="http://schemas.microsoft.com/office/drawing/2014/main" id="{16A8F254-A5E9-3B68-505D-3938D645A013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>
                <a:solidFill>
                  <a:srgbClr val="112540"/>
                </a:solidFill>
              </a:endParaRPr>
            </a:p>
          </p:txBody>
        </p:sp>
        <p:sp>
          <p:nvSpPr>
            <p:cNvPr id="74" name="TextBox 54">
              <a:extLst>
                <a:ext uri="{FF2B5EF4-FFF2-40B4-BE49-F238E27FC236}">
                  <a16:creationId xmlns:a16="http://schemas.microsoft.com/office/drawing/2014/main" id="{7D7B5407-7F5D-E573-CB40-E72B609A9389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sp>
        <p:nvSpPr>
          <p:cNvPr id="75" name="Freeform 13">
            <a:extLst>
              <a:ext uri="{FF2B5EF4-FFF2-40B4-BE49-F238E27FC236}">
                <a16:creationId xmlns:a16="http://schemas.microsoft.com/office/drawing/2014/main" id="{264C1238-D428-A86C-A81A-A80ADFDE3709}"/>
              </a:ext>
            </a:extLst>
          </p:cNvPr>
          <p:cNvSpPr/>
          <p:nvPr/>
        </p:nvSpPr>
        <p:spPr>
          <a:xfrm>
            <a:off x="2267835" y="4864289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32E157FD-8AFD-8D20-3130-A57A11775709}"/>
              </a:ext>
            </a:extLst>
          </p:cNvPr>
          <p:cNvSpPr/>
          <p:nvPr/>
        </p:nvSpPr>
        <p:spPr>
          <a:xfrm>
            <a:off x="3225027" y="3280066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8A3F3932-F97B-F2BD-D9C6-B6B34D9444CE}"/>
              </a:ext>
            </a:extLst>
          </p:cNvPr>
          <p:cNvSpPr txBox="1"/>
          <p:nvPr/>
        </p:nvSpPr>
        <p:spPr>
          <a:xfrm>
            <a:off x="3301227" y="3270168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D5A8DB7-C11C-A349-DE75-8B9062B246E5}"/>
              </a:ext>
            </a:extLst>
          </p:cNvPr>
          <p:cNvSpPr txBox="1"/>
          <p:nvPr/>
        </p:nvSpPr>
        <p:spPr>
          <a:xfrm>
            <a:off x="3301227" y="3681996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D497474D-24A7-49D2-0EE2-34883CA60B33}"/>
              </a:ext>
            </a:extLst>
          </p:cNvPr>
          <p:cNvSpPr txBox="1"/>
          <p:nvPr/>
        </p:nvSpPr>
        <p:spPr>
          <a:xfrm>
            <a:off x="3301227" y="4449068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B</a:t>
            </a: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FD931633-9FF7-7420-7FF1-E3914AB2A25A}"/>
              </a:ext>
            </a:extLst>
          </p:cNvPr>
          <p:cNvSpPr/>
          <p:nvPr/>
        </p:nvSpPr>
        <p:spPr>
          <a:xfrm>
            <a:off x="3225027" y="4832605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BCF978BA-B5A1-B07B-31EC-296EA24DFA28}"/>
              </a:ext>
            </a:extLst>
          </p:cNvPr>
          <p:cNvSpPr txBox="1"/>
          <p:nvPr/>
        </p:nvSpPr>
        <p:spPr>
          <a:xfrm>
            <a:off x="3303108" y="4820039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6"/>
          <p:cNvGrpSpPr/>
          <p:nvPr/>
        </p:nvGrpSpPr>
        <p:grpSpPr>
          <a:xfrm>
            <a:off x="631184" y="7151017"/>
            <a:ext cx="188501" cy="188501"/>
            <a:chOff x="0" y="0"/>
            <a:chExt cx="812800" cy="812800"/>
          </a:xfrm>
        </p:grpSpPr>
        <p:sp>
          <p:nvSpPr>
            <p:cNvPr id="37" name="Freeform 37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TextBox 38"/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1747700" cy="339603"/>
            <a:chOff x="0" y="0"/>
            <a:chExt cx="2330266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330266" cy="452804"/>
              <a:chOff x="0" y="0"/>
              <a:chExt cx="647296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647296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647296" h="125779">
                    <a:moveTo>
                      <a:pt x="0" y="0"/>
                    </a:moveTo>
                    <a:lnTo>
                      <a:pt x="647296" y="0"/>
                    </a:lnTo>
                    <a:lnTo>
                      <a:pt x="647296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647296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56356" y="18756"/>
              <a:ext cx="2217553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Wärme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888023" y="548802"/>
            <a:ext cx="1458512" cy="1071224"/>
          </a:xfrm>
          <a:custGeom>
            <a:avLst/>
            <a:gdLst/>
            <a:ahLst/>
            <a:cxnLst/>
            <a:rect l="l" t="t" r="r" b="b"/>
            <a:pathLst>
              <a:path w="1458512" h="1071224">
                <a:moveTo>
                  <a:pt x="0" y="0"/>
                </a:moveTo>
                <a:lnTo>
                  <a:pt x="1458512" y="0"/>
                </a:lnTo>
                <a:lnTo>
                  <a:pt x="1458512" y="1071224"/>
                </a:lnTo>
                <a:lnTo>
                  <a:pt x="0" y="1071224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420531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is Mitte 2026 (&gt;100.000) bzw. 2028 (&lt;100.000) müssen Kommunen eine Wärmeplanung vorlegen. Kleinere Kommunen wird ein vereinfachtes Verfahren ermöglicht. GEG greift dann, wenn konkrete, gesonderte Ausführungsgenehmigung kommt. Oder ab spätestens 2026/28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b 2035 dürfen keine Emissionen mehr durch die Wärmeerzeugung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tstehe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troffene Sektoren mitdenken: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steigerter Strombedarf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(durch große und kleinere Wärmepumpen) muss mitberücksichtigt werden und erneuerbar sowie lokal/regional erzeugt werden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lankierung mit Maßnahmen im Gebäudebereich nötig: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nnahmen über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anierungsrat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müssen in kommunalen Konzepten hinterlegt werden: Wird eine gesteigerte Sanierungsquote durch kommunale Aktivitäten plausibilisiert?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ach der Wärmeplanung: Aufteilung und Ausweisung von Wärmeversorgungsgebieten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889210" y="7027192"/>
            <a:ext cx="11554521" cy="18969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lvl="2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chaut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in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ser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Checklist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ut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ärmeplanung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</a:p>
          <a:p>
            <a:pPr lvl="2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itmachen-wiki.germanzero.org/w/LocalZero:W%C3%A4rmeplan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26664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/ ext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nstleister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nossenschaf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vestor:in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twickler:inn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 2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ärmeplanung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2760366" y="825897"/>
            <a:ext cx="11894274" cy="884858"/>
            <a:chOff x="0" y="-38100"/>
            <a:chExt cx="15859032" cy="1179810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Wärmeplan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auftrag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zw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.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rstell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285677" cy="39624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1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5163544-5EB9-ED11-BFE1-F577EFDAC69D}"/>
              </a:ext>
            </a:extLst>
          </p:cNvPr>
          <p:cNvGrpSpPr/>
          <p:nvPr/>
        </p:nvGrpSpPr>
        <p:grpSpPr>
          <a:xfrm>
            <a:off x="-15767" y="2313277"/>
            <a:ext cx="183377" cy="7534901"/>
            <a:chOff x="-34161" y="53321"/>
            <a:chExt cx="244503" cy="10046536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27111EF6-9638-799F-5D65-5A363FACA5FD}"/>
                </a:ext>
              </a:extLst>
            </p:cNvPr>
            <p:cNvSpPr txBox="1"/>
            <p:nvPr/>
          </p:nvSpPr>
          <p:spPr>
            <a:xfrm rot="16200000">
              <a:off x="-4465808" y="4505991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BA 2022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8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EA730C6E-750F-0DD9-A110-A5029B72DC2C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24EB0FD7-6706-DB6B-7BAE-A8C943C7D17A}"/>
              </a:ext>
            </a:extLst>
          </p:cNvPr>
          <p:cNvSpPr/>
          <p:nvPr/>
        </p:nvSpPr>
        <p:spPr>
          <a:xfrm>
            <a:off x="648856" y="8264462"/>
            <a:ext cx="798944" cy="541615"/>
          </a:xfrm>
          <a:prstGeom prst="rightArrow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11633"/>
              </a:solidFill>
              <a:highlight>
                <a:srgbClr val="FFFF00"/>
              </a:highlight>
            </a:endParaRPr>
          </a:p>
        </p:txBody>
      </p:sp>
      <p:grpSp>
        <p:nvGrpSpPr>
          <p:cNvPr id="11" name="Group 11">
            <a:extLst>
              <a:ext uri="{FF2B5EF4-FFF2-40B4-BE49-F238E27FC236}">
                <a16:creationId xmlns:a16="http://schemas.microsoft.com/office/drawing/2014/main" id="{05AC1E2A-172B-680A-D767-7BC493B801AC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68D714B-93E3-E58E-5FB3-23F5CE131D34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TextBox 13">
              <a:extLst>
                <a:ext uri="{FF2B5EF4-FFF2-40B4-BE49-F238E27FC236}">
                  <a16:creationId xmlns:a16="http://schemas.microsoft.com/office/drawing/2014/main" id="{5BA9A30E-D86F-C108-B231-E18D99627189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9" name="TextBox 37">
            <a:extLst>
              <a:ext uri="{FF2B5EF4-FFF2-40B4-BE49-F238E27FC236}">
                <a16:creationId xmlns:a16="http://schemas.microsoft.com/office/drawing/2014/main" id="{9DE53DCC-8604-AED4-9D17-257698FD1217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0" name="Freeform 26">
            <a:extLst>
              <a:ext uri="{FF2B5EF4-FFF2-40B4-BE49-F238E27FC236}">
                <a16:creationId xmlns:a16="http://schemas.microsoft.com/office/drawing/2014/main" id="{FA73D1E6-FD2F-CEED-C506-BD96459CED35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6501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5">
            <a:extLst>
              <a:ext uri="{FF2B5EF4-FFF2-40B4-BE49-F238E27FC236}">
                <a16:creationId xmlns:a16="http://schemas.microsoft.com/office/drawing/2014/main" id="{69BD379D-5E2B-4699-6C97-6089B3863C22}"/>
              </a:ext>
            </a:extLst>
          </p:cNvPr>
          <p:cNvSpPr txBox="1">
            <a:spLocks/>
          </p:cNvSpPr>
          <p:nvPr/>
        </p:nvSpPr>
        <p:spPr>
          <a:xfrm>
            <a:off x="1176392" y="4281389"/>
            <a:ext cx="13716000" cy="3581400"/>
          </a:xfrm>
          <a:prstGeom prst="rect">
            <a:avLst/>
          </a:prstGeom>
        </p:spPr>
        <p:txBody>
          <a:bodyPr anchor="b"/>
          <a:lstStyle>
            <a:lvl1pPr algn="l" defTabSz="13716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7200" b="1" dirty="0">
                <a:solidFill>
                  <a:schemeClr val="bg2"/>
                </a:solidFill>
              </a:rPr>
              <a:t>Umsetzung der Wärmewende (Fokus Wärmenetze)</a:t>
            </a:r>
          </a:p>
          <a:p>
            <a:endParaRPr lang="de-DE" i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r>
              <a:rPr lang="de-DE" i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m Rahmen der Wärmeplanung müssen konkrete Umsetzungsschritte beschlossen werden, </a:t>
            </a:r>
            <a:r>
              <a:rPr lang="de-DE" i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ehr Infos (Schritt 7)</a:t>
            </a:r>
            <a:r>
              <a:rPr lang="de-DE" i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  <a:endParaRPr lang="de-DE" i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30032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ussdiagramm: Verbinder 10">
            <a:extLst>
              <a:ext uri="{FF2B5EF4-FFF2-40B4-BE49-F238E27FC236}">
                <a16:creationId xmlns:a16="http://schemas.microsoft.com/office/drawing/2014/main" id="{EF93C60C-ED71-2C82-98D5-44ADC47A04DA}"/>
              </a:ext>
            </a:extLst>
          </p:cNvPr>
          <p:cNvSpPr/>
          <p:nvPr/>
        </p:nvSpPr>
        <p:spPr>
          <a:xfrm>
            <a:off x="649178" y="7126554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1747700" cy="339603"/>
            <a:chOff x="0" y="0"/>
            <a:chExt cx="2330266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330266" cy="452804"/>
              <a:chOff x="0" y="0"/>
              <a:chExt cx="647296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647296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647296" h="125779">
                    <a:moveTo>
                      <a:pt x="0" y="0"/>
                    </a:moveTo>
                    <a:lnTo>
                      <a:pt x="647296" y="0"/>
                    </a:lnTo>
                    <a:lnTo>
                      <a:pt x="647296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647296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56356" y="18756"/>
              <a:ext cx="2217553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Wärme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17" name="Group 17"/>
          <p:cNvGrpSpPr/>
          <p:nvPr/>
        </p:nvGrpSpPr>
        <p:grpSpPr>
          <a:xfrm>
            <a:off x="515733" y="9407587"/>
            <a:ext cx="2341249" cy="440591"/>
            <a:chOff x="0" y="0"/>
            <a:chExt cx="662234" cy="124623"/>
          </a:xfrm>
        </p:grpSpPr>
        <p:sp>
          <p:nvSpPr>
            <p:cNvPr id="18" name="Freeform 18"/>
            <p:cNvSpPr/>
            <p:nvPr/>
          </p:nvSpPr>
          <p:spPr>
            <a:xfrm>
              <a:off x="0" y="0"/>
              <a:ext cx="662234" cy="124623"/>
            </a:xfrm>
            <a:custGeom>
              <a:avLst/>
              <a:gdLst/>
              <a:ahLst/>
              <a:cxnLst/>
              <a:rect l="l" t="t" r="r" b="b"/>
              <a:pathLst>
                <a:path w="662234" h="124623">
                  <a:moveTo>
                    <a:pt x="62312" y="0"/>
                  </a:moveTo>
                  <a:lnTo>
                    <a:pt x="599922" y="0"/>
                  </a:lnTo>
                  <a:cubicBezTo>
                    <a:pt x="616448" y="0"/>
                    <a:pt x="632297" y="6565"/>
                    <a:pt x="643983" y="18251"/>
                  </a:cubicBezTo>
                  <a:cubicBezTo>
                    <a:pt x="655669" y="29936"/>
                    <a:pt x="662234" y="45786"/>
                    <a:pt x="662234" y="62312"/>
                  </a:cubicBezTo>
                  <a:lnTo>
                    <a:pt x="662234" y="62312"/>
                  </a:lnTo>
                  <a:cubicBezTo>
                    <a:pt x="662234" y="78838"/>
                    <a:pt x="655669" y="94687"/>
                    <a:pt x="643983" y="106373"/>
                  </a:cubicBezTo>
                  <a:cubicBezTo>
                    <a:pt x="632297" y="118058"/>
                    <a:pt x="616448" y="124623"/>
                    <a:pt x="59992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TextBox 19"/>
            <p:cNvSpPr txBox="1"/>
            <p:nvPr/>
          </p:nvSpPr>
          <p:spPr>
            <a:xfrm>
              <a:off x="0" y="-28575"/>
              <a:ext cx="662234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2" name="Freeform 32"/>
          <p:cNvSpPr/>
          <p:nvPr/>
        </p:nvSpPr>
        <p:spPr>
          <a:xfrm>
            <a:off x="635586" y="950344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3" y="0"/>
                </a:lnTo>
                <a:lnTo>
                  <a:pt x="233323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888023" y="548802"/>
            <a:ext cx="1458512" cy="1071224"/>
          </a:xfrm>
          <a:custGeom>
            <a:avLst/>
            <a:gdLst/>
            <a:ahLst/>
            <a:cxnLst/>
            <a:rect l="l" t="t" r="r" b="b"/>
            <a:pathLst>
              <a:path w="1458512" h="1071224">
                <a:moveTo>
                  <a:pt x="0" y="0"/>
                </a:moveTo>
                <a:lnTo>
                  <a:pt x="1458512" y="0"/>
                </a:lnTo>
                <a:lnTo>
                  <a:pt x="1458512" y="1071224"/>
                </a:lnTo>
                <a:lnTo>
                  <a:pt x="0" y="1071224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0" name="TextBox 40"/>
          <p:cNvSpPr txBox="1"/>
          <p:nvPr/>
        </p:nvSpPr>
        <p:spPr>
          <a:xfrm>
            <a:off x="916534" y="9500566"/>
            <a:ext cx="1765348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THG-Einsparpotenzial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38205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 des kommunalen Wärmeplans durch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bau bestehender Wärmeproduktion hin zu grüner Wärme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d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schließung neuer grüner Wärmequell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llständiger Umbau und Ausbau grüner Wärme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iefen- und oberflächennahe Geothermie, Solarthermie, PV, Großwärmepumpen (Luft, Gewässer, Abwärme), Power-to-Heat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iomasse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üllheizkraftwerke, Wasserstoff, e-Metha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Harmonisierung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n Wärmebedarfen und der Produktion erneuerbarer Wärme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(Sanierung mit Wärme Aus- und Umbau harmonisieren)</a:t>
            </a:r>
          </a:p>
          <a:p>
            <a:pPr marL="342900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 Fernwärmenetzen, v.a. Temperaturreduzierung, hydraulische Optimierung (Schaffung </a:t>
            </a:r>
            <a:r>
              <a:rPr lang="de-DE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</a:t>
            </a:r>
            <a:r>
              <a:rPr lang="de-DE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Effizienzmaßnahmen </a:t>
            </a:r>
            <a:r>
              <a:rPr lang="de-DE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cher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raussetzungen für die Nutzung erneuerbarer Energien in den Wärmenetzen)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se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ossil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ärmebezug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rün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ärm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26664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k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ädtisch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öchterunterne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687800" y="9541473"/>
            <a:ext cx="11165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3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rauner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etallturm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2759194" y="392720"/>
            <a:ext cx="11894274" cy="1416157"/>
            <a:chOff x="0" y="-38100"/>
            <a:chExt cx="15859032" cy="1888208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5859032" cy="139354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28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Dekarbonisierung</a:t>
              </a:r>
              <a:r>
                <a:rPr lang="en-US" sz="28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28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stehender</a:t>
              </a:r>
              <a:r>
                <a:rPr lang="en-US" sz="28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28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Fernwärmenetze</a:t>
              </a:r>
              <a:r>
                <a:rPr lang="en-US" sz="28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</a:t>
              </a:r>
              <a:r>
                <a:rPr lang="en-US" sz="28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usbau</a:t>
              </a:r>
              <a:r>
                <a:rPr lang="en-US" sz="28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28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grüner</a:t>
              </a:r>
              <a:r>
                <a:rPr lang="en-US" sz="28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28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Wärmenetze</a:t>
              </a:r>
              <a:r>
                <a:rPr lang="en-US" sz="28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28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durch</a:t>
              </a:r>
              <a:r>
                <a:rPr lang="en-US" sz="28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28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rschließung</a:t>
              </a:r>
              <a:r>
                <a:rPr lang="en-US" sz="28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28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rneuerbarer</a:t>
              </a:r>
              <a:r>
                <a:rPr lang="en-US" sz="28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28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Wärmequellen</a:t>
              </a:r>
              <a:endParaRPr lang="en-US" sz="28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285677" cy="40857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2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5163544-5EB9-ED11-BFE1-F577EFDAC69D}"/>
              </a:ext>
            </a:extLst>
          </p:cNvPr>
          <p:cNvGrpSpPr/>
          <p:nvPr/>
        </p:nvGrpSpPr>
        <p:grpSpPr>
          <a:xfrm>
            <a:off x="-15767" y="2291998"/>
            <a:ext cx="185302" cy="7556180"/>
            <a:chOff x="-34161" y="24949"/>
            <a:chExt cx="247070" cy="10074908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27111EF6-9638-799F-5D65-5A363FACA5FD}"/>
                </a:ext>
              </a:extLst>
            </p:cNvPr>
            <p:cNvSpPr txBox="1"/>
            <p:nvPr/>
          </p:nvSpPr>
          <p:spPr>
            <a:xfrm rot="16200000">
              <a:off x="-4463241" y="4477619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BA 2022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9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EA730C6E-750F-0DD9-A110-A5029B72DC2C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pic>
        <p:nvPicPr>
          <p:cNvPr id="60" name="Grafik 59" descr="Daumen hoch-Zeichen mit einfarbiger Füllung">
            <a:extLst>
              <a:ext uri="{FF2B5EF4-FFF2-40B4-BE49-F238E27FC236}">
                <a16:creationId xmlns:a16="http://schemas.microsoft.com/office/drawing/2014/main" id="{C6E56867-097E-984E-DE69-24C4D49D0F3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65968" y="3281023"/>
            <a:ext cx="359291" cy="359291"/>
          </a:xfrm>
          <a:prstGeom prst="rect">
            <a:avLst/>
          </a:prstGeom>
        </p:spPr>
      </p:pic>
      <p:pic>
        <p:nvPicPr>
          <p:cNvPr id="62" name="Grafik 61" descr="Daumen runter mit einfarbiger Füllung">
            <a:extLst>
              <a:ext uri="{FF2B5EF4-FFF2-40B4-BE49-F238E27FC236}">
                <a16:creationId xmlns:a16="http://schemas.microsoft.com/office/drawing/2014/main" id="{AA8FE2AD-0F40-1AA4-CC7E-034DD159534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60090" y="4102747"/>
            <a:ext cx="359291" cy="359291"/>
          </a:xfrm>
          <a:prstGeom prst="rect">
            <a:avLst/>
          </a:prstGeom>
        </p:spPr>
      </p:pic>
      <p:pic>
        <p:nvPicPr>
          <p:cNvPr id="64" name="Grafik 63" descr="Nach rechts zeigender Finger, Handrücken mit einfarbiger Füllung">
            <a:extLst>
              <a:ext uri="{FF2B5EF4-FFF2-40B4-BE49-F238E27FC236}">
                <a16:creationId xmlns:a16="http://schemas.microsoft.com/office/drawing/2014/main" id="{2BCBE60E-5A7D-1144-6A6A-0011903685C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37679" y="3691885"/>
            <a:ext cx="359291" cy="359291"/>
          </a:xfrm>
          <a:prstGeom prst="rect">
            <a:avLst/>
          </a:prstGeom>
        </p:spPr>
      </p:pic>
      <p:pic>
        <p:nvPicPr>
          <p:cNvPr id="12" name="Grafik 11" descr="Sterne mit einfarbiger Füllung">
            <a:extLst>
              <a:ext uri="{FF2B5EF4-FFF2-40B4-BE49-F238E27FC236}">
                <a16:creationId xmlns:a16="http://schemas.microsoft.com/office/drawing/2014/main" id="{2D8217BE-9D22-7499-0E82-FEDDF5BD075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70630" y="9405417"/>
            <a:ext cx="457200" cy="457200"/>
          </a:xfrm>
          <a:prstGeom prst="rect">
            <a:avLst/>
          </a:prstGeom>
        </p:spPr>
      </p:pic>
      <p:sp>
        <p:nvSpPr>
          <p:cNvPr id="13" name="TextBox 34">
            <a:extLst>
              <a:ext uri="{FF2B5EF4-FFF2-40B4-BE49-F238E27FC236}">
                <a16:creationId xmlns:a16="http://schemas.microsoft.com/office/drawing/2014/main" id="{7D3A140A-7348-110B-9E7B-C5AE5860C504}"/>
              </a:ext>
            </a:extLst>
          </p:cNvPr>
          <p:cNvSpPr txBox="1"/>
          <p:nvPr/>
        </p:nvSpPr>
        <p:spPr>
          <a:xfrm>
            <a:off x="3358525" y="9515305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chenzentrums-Abwärme Braunschwei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36" name="Grafik 35" descr="Sterne mit einfarbiger Füllung">
            <a:extLst>
              <a:ext uri="{FF2B5EF4-FFF2-40B4-BE49-F238E27FC236}">
                <a16:creationId xmlns:a16="http://schemas.microsoft.com/office/drawing/2014/main" id="{8F5C018E-AE21-7104-40BF-9232F5E95A4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770318" y="9390678"/>
            <a:ext cx="457200" cy="457200"/>
          </a:xfrm>
          <a:prstGeom prst="rect">
            <a:avLst/>
          </a:prstGeom>
        </p:spPr>
      </p:pic>
      <p:sp>
        <p:nvSpPr>
          <p:cNvPr id="37" name="TextBox 34">
            <a:extLst>
              <a:ext uri="{FF2B5EF4-FFF2-40B4-BE49-F238E27FC236}">
                <a16:creationId xmlns:a16="http://schemas.microsoft.com/office/drawing/2014/main" id="{E8A8FB56-FCF6-A7CB-627E-63A2DFD1FAB0}"/>
              </a:ext>
            </a:extLst>
          </p:cNvPr>
          <p:cNvSpPr txBox="1"/>
          <p:nvPr/>
        </p:nvSpPr>
        <p:spPr>
          <a:xfrm>
            <a:off x="7258213" y="9500566"/>
            <a:ext cx="3515591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erflächennahe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othermi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Bad Nauheim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38" name="Grafik 37" descr="Sterne mit einfarbiger Füllung">
            <a:extLst>
              <a:ext uri="{FF2B5EF4-FFF2-40B4-BE49-F238E27FC236}">
                <a16:creationId xmlns:a16="http://schemas.microsoft.com/office/drawing/2014/main" id="{CB8A1BDA-3E65-DB02-6813-E3D3F90C3C5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70630" y="8769749"/>
            <a:ext cx="457200" cy="457200"/>
          </a:xfrm>
          <a:prstGeom prst="rect">
            <a:avLst/>
          </a:prstGeom>
        </p:spPr>
      </p:pic>
      <p:sp>
        <p:nvSpPr>
          <p:cNvPr id="55" name="TextBox 34">
            <a:extLst>
              <a:ext uri="{FF2B5EF4-FFF2-40B4-BE49-F238E27FC236}">
                <a16:creationId xmlns:a16="http://schemas.microsoft.com/office/drawing/2014/main" id="{789D1804-EB65-FFA1-EBFF-68E5E64E0201}"/>
              </a:ext>
            </a:extLst>
          </p:cNvPr>
          <p:cNvSpPr txBox="1"/>
          <p:nvPr/>
        </p:nvSpPr>
        <p:spPr>
          <a:xfrm>
            <a:off x="3358525" y="8879637"/>
            <a:ext cx="3515591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2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rdbecken-Wärmespeicher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2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eldorf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59" name="Grafik 58" descr="Sterne mit einfarbiger Füllung">
            <a:extLst>
              <a:ext uri="{FF2B5EF4-FFF2-40B4-BE49-F238E27FC236}">
                <a16:creationId xmlns:a16="http://schemas.microsoft.com/office/drawing/2014/main" id="{885CCCE1-193A-EF05-F436-74E5E6EAA1A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746067" y="8769749"/>
            <a:ext cx="457200" cy="457200"/>
          </a:xfrm>
          <a:prstGeom prst="rect">
            <a:avLst/>
          </a:prstGeom>
        </p:spPr>
      </p:pic>
      <p:sp>
        <p:nvSpPr>
          <p:cNvPr id="61" name="TextBox 34">
            <a:extLst>
              <a:ext uri="{FF2B5EF4-FFF2-40B4-BE49-F238E27FC236}">
                <a16:creationId xmlns:a16="http://schemas.microsoft.com/office/drawing/2014/main" id="{D56D0E46-C23D-AA1A-06A7-01E5F6935D82}"/>
              </a:ext>
            </a:extLst>
          </p:cNvPr>
          <p:cNvSpPr txBox="1"/>
          <p:nvPr/>
        </p:nvSpPr>
        <p:spPr>
          <a:xfrm>
            <a:off x="7233962" y="8879637"/>
            <a:ext cx="3515591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bwasserwärme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ckarpark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Stuttgar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63" name="Grafik 62" descr="Sterne mit einfarbiger Füllung">
            <a:extLst>
              <a:ext uri="{FF2B5EF4-FFF2-40B4-BE49-F238E27FC236}">
                <a16:creationId xmlns:a16="http://schemas.microsoft.com/office/drawing/2014/main" id="{FB779CBF-BC9C-C2E8-AF4C-51DC2389AF4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780628" y="9353320"/>
            <a:ext cx="457200" cy="457200"/>
          </a:xfrm>
          <a:prstGeom prst="rect">
            <a:avLst/>
          </a:prstGeom>
        </p:spPr>
      </p:pic>
      <p:sp>
        <p:nvSpPr>
          <p:cNvPr id="65" name="TextBox 34">
            <a:extLst>
              <a:ext uri="{FF2B5EF4-FFF2-40B4-BE49-F238E27FC236}">
                <a16:creationId xmlns:a16="http://schemas.microsoft.com/office/drawing/2014/main" id="{0B5E31D2-17E5-1366-AA65-BA99FB9B5D4D}"/>
              </a:ext>
            </a:extLst>
          </p:cNvPr>
          <p:cNvSpPr txBox="1"/>
          <p:nvPr/>
        </p:nvSpPr>
        <p:spPr>
          <a:xfrm>
            <a:off x="11268523" y="9463208"/>
            <a:ext cx="3515591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2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usswärme Mannheim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66" name="Grafik 65" descr="Sterne mit einfarbiger Füllung">
            <a:extLst>
              <a:ext uri="{FF2B5EF4-FFF2-40B4-BE49-F238E27FC236}">
                <a16:creationId xmlns:a16="http://schemas.microsoft.com/office/drawing/2014/main" id="{4920D8E7-2929-5C25-BB53-46BE2286B45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749553" y="8769749"/>
            <a:ext cx="457200" cy="457200"/>
          </a:xfrm>
          <a:prstGeom prst="rect">
            <a:avLst/>
          </a:prstGeom>
        </p:spPr>
      </p:pic>
      <p:sp>
        <p:nvSpPr>
          <p:cNvPr id="67" name="TextBox 34">
            <a:extLst>
              <a:ext uri="{FF2B5EF4-FFF2-40B4-BE49-F238E27FC236}">
                <a16:creationId xmlns:a16="http://schemas.microsoft.com/office/drawing/2014/main" id="{090AB7EF-FE6D-F65E-96FB-0B713689C99E}"/>
              </a:ext>
            </a:extLst>
          </p:cNvPr>
          <p:cNvSpPr txBox="1"/>
          <p:nvPr/>
        </p:nvSpPr>
        <p:spPr>
          <a:xfrm>
            <a:off x="11237828" y="8879637"/>
            <a:ext cx="3515591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2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iefengeothermie Munster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68" name="Grafik 67" descr="Sterne mit einfarbiger Füllung">
            <a:extLst>
              <a:ext uri="{FF2B5EF4-FFF2-40B4-BE49-F238E27FC236}">
                <a16:creationId xmlns:a16="http://schemas.microsoft.com/office/drawing/2014/main" id="{8329A005-4D96-187B-2939-DE5AA5074A9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56982" y="8167330"/>
            <a:ext cx="457200" cy="457200"/>
          </a:xfrm>
          <a:prstGeom prst="rect">
            <a:avLst/>
          </a:prstGeom>
        </p:spPr>
      </p:pic>
      <p:sp>
        <p:nvSpPr>
          <p:cNvPr id="69" name="TextBox 34">
            <a:extLst>
              <a:ext uri="{FF2B5EF4-FFF2-40B4-BE49-F238E27FC236}">
                <a16:creationId xmlns:a16="http://schemas.microsoft.com/office/drawing/2014/main" id="{DE49C11D-82D1-5B62-2361-4DFF9C17DD4A}"/>
              </a:ext>
            </a:extLst>
          </p:cNvPr>
          <p:cNvSpPr txBox="1"/>
          <p:nvPr/>
        </p:nvSpPr>
        <p:spPr>
          <a:xfrm>
            <a:off x="3358525" y="8288880"/>
            <a:ext cx="3515591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2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iflächen-Solarthermie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2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einheim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20294795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ussdiagramm: Verbinder 10">
            <a:extLst>
              <a:ext uri="{FF2B5EF4-FFF2-40B4-BE49-F238E27FC236}">
                <a16:creationId xmlns:a16="http://schemas.microsoft.com/office/drawing/2014/main" id="{EF93C60C-ED71-2C82-98D5-44ADC47A04DA}"/>
              </a:ext>
            </a:extLst>
          </p:cNvPr>
          <p:cNvSpPr/>
          <p:nvPr/>
        </p:nvSpPr>
        <p:spPr>
          <a:xfrm>
            <a:off x="649178" y="7126554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1747700" cy="339603"/>
            <a:chOff x="0" y="0"/>
            <a:chExt cx="2330266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330266" cy="452804"/>
              <a:chOff x="0" y="0"/>
              <a:chExt cx="647296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647296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647296" h="125779">
                    <a:moveTo>
                      <a:pt x="0" y="0"/>
                    </a:moveTo>
                    <a:lnTo>
                      <a:pt x="647296" y="0"/>
                    </a:lnTo>
                    <a:lnTo>
                      <a:pt x="647296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647296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56356" y="18756"/>
              <a:ext cx="2217553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Wärme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888023" y="548802"/>
            <a:ext cx="1458512" cy="1071224"/>
          </a:xfrm>
          <a:custGeom>
            <a:avLst/>
            <a:gdLst/>
            <a:ahLst/>
            <a:cxnLst/>
            <a:rect l="l" t="t" r="r" b="b"/>
            <a:pathLst>
              <a:path w="1458512" h="1071224">
                <a:moveTo>
                  <a:pt x="0" y="0"/>
                </a:moveTo>
                <a:lnTo>
                  <a:pt x="1458512" y="0"/>
                </a:lnTo>
                <a:lnTo>
                  <a:pt x="1458512" y="1071224"/>
                </a:lnTo>
                <a:lnTo>
                  <a:pt x="0" y="1071224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228171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neuerbar betriebene Wärmenetze haben in der Regel ein niedrigeres Temperaturniveau, weil die Umweltwärme nicht ähnlich leicht wie fossil erzeugte Wärme genutzt werden kann.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aher müssen die Wärmesysteme so umgebaut werden, dass sie mit niedrigeren Temperauren (&lt; 70 Grad) betrieben werden können. </a:t>
            </a:r>
          </a:p>
          <a:p>
            <a:pPr algn="l">
              <a:lnSpc>
                <a:spcPts val="3039"/>
              </a:lnSpc>
            </a:pPr>
            <a:endParaRPr lang="de-DE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sätzlich werden durch die Temperaturreduzierung Effizienzpotenziale gehoben.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8" name="TextBox 48"/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rüst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ärmenetz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utzbarmach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eis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neuerbar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ärmequell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ld mus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willig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warden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16687800" y="9541473"/>
            <a:ext cx="11165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4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rauner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etallturm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2759194" y="392720"/>
            <a:ext cx="11894274" cy="1416157"/>
            <a:chOff x="0" y="-38100"/>
            <a:chExt cx="15859032" cy="1888208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5859032" cy="139354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msetz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von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ffizienzmaßnahm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in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Wärmenetz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(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.a.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Temperaturreduzier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,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hydraulisch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Optimier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)</a:t>
              </a: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401075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3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5163544-5EB9-ED11-BFE1-F577EFDAC69D}"/>
              </a:ext>
            </a:extLst>
          </p:cNvPr>
          <p:cNvGrpSpPr/>
          <p:nvPr/>
        </p:nvGrpSpPr>
        <p:grpSpPr>
          <a:xfrm>
            <a:off x="-15767" y="2291998"/>
            <a:ext cx="185302" cy="7556180"/>
            <a:chOff x="-34161" y="24949"/>
            <a:chExt cx="247070" cy="10074908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27111EF6-9638-799F-5D65-5A363FACA5FD}"/>
                </a:ext>
              </a:extLst>
            </p:cNvPr>
            <p:cNvSpPr txBox="1"/>
            <p:nvPr/>
          </p:nvSpPr>
          <p:spPr>
            <a:xfrm rot="16200000">
              <a:off x="-4463241" y="4477619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BA 2022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7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EA730C6E-750F-0DD9-A110-A5029B72DC2C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93981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13">
            <a:extLst>
              <a:ext uri="{FF2B5EF4-FFF2-40B4-BE49-F238E27FC236}">
                <a16:creationId xmlns:a16="http://schemas.microsoft.com/office/drawing/2014/main" id="{EFA98D1F-DC25-C5D2-1982-B3DEE40F1E7D}"/>
              </a:ext>
            </a:extLst>
          </p:cNvPr>
          <p:cNvSpPr/>
          <p:nvPr/>
        </p:nvSpPr>
        <p:spPr>
          <a:xfrm>
            <a:off x="631505" y="7117957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1747700" cy="339603"/>
            <a:chOff x="0" y="0"/>
            <a:chExt cx="2330266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330266" cy="452804"/>
              <a:chOff x="0" y="0"/>
              <a:chExt cx="647296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647296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647296" h="125779">
                    <a:moveTo>
                      <a:pt x="0" y="0"/>
                    </a:moveTo>
                    <a:lnTo>
                      <a:pt x="647296" y="0"/>
                    </a:lnTo>
                    <a:lnTo>
                      <a:pt x="647296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647296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56356" y="18756"/>
              <a:ext cx="2217553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Wärme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888023" y="548802"/>
            <a:ext cx="1458512" cy="1071224"/>
          </a:xfrm>
          <a:custGeom>
            <a:avLst/>
            <a:gdLst/>
            <a:ahLst/>
            <a:cxnLst/>
            <a:rect l="l" t="t" r="r" b="b"/>
            <a:pathLst>
              <a:path w="1458512" h="1071224">
                <a:moveTo>
                  <a:pt x="0" y="0"/>
                </a:moveTo>
                <a:lnTo>
                  <a:pt x="1458512" y="0"/>
                </a:lnTo>
                <a:lnTo>
                  <a:pt x="1458512" y="1071224"/>
                </a:lnTo>
                <a:lnTo>
                  <a:pt x="0" y="1071224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305115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ärmenetze können effizienter sein als die Umstellung der individuellen Heizung. Daher kann es sinnvoll sein, die Abnahmebasis der Fernwärme zu erhöhen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are Ziele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über Erhöhung der Anschlussquote und Wärmeabnahme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formationsangebot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über Stadtwerke bzw. kommunale Kanäle streuen;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 bestehenden kommunalen Beratungsangebot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Energieberatung, Sanierungskonzepten etc.)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zahnen;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ach §13 Kommunalverfassungsgesetz ist di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estsetzung eines Anschlusszwanges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 ein neu zu errichtendes Nahwärmenetz grundsätzlich auf Basis der Ergebnisse der Quartierskonzepte möglich </a:t>
            </a:r>
            <a:r>
              <a:rPr lang="de-DE" sz="1899" i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(Achtung potenziell konfliktive Maßnahme! Achtung vor hohen Wärmekosten für </a:t>
            </a:r>
            <a:r>
              <a:rPr lang="de-DE" sz="1899" i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braucher:innen</a:t>
            </a:r>
            <a:r>
              <a:rPr lang="de-DE" sz="1899" i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!)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889210" y="7027192"/>
            <a:ext cx="12037191" cy="18969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möglich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Anschluss an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karbonisier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ernwärm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er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pflicht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üb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a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zeug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se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ossil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ärm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ld mus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willig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warden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16687800" y="9541473"/>
            <a:ext cx="11165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5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netzung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in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ohngebieten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splash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2759194" y="392720"/>
            <a:ext cx="11894274" cy="1405193"/>
            <a:chOff x="0" y="-38100"/>
            <a:chExt cx="15859032" cy="1873590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5859032" cy="137892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25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ratung</a:t>
              </a:r>
              <a:r>
                <a:rPr lang="en-US" sz="25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Motivation </a:t>
              </a:r>
              <a:r>
                <a:rPr lang="en-US" sz="25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zur</a:t>
              </a:r>
              <a:r>
                <a:rPr lang="en-US" sz="25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25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Verdichtung</a:t>
              </a:r>
              <a:r>
                <a:rPr lang="en-US" sz="25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</a:t>
              </a:r>
              <a:r>
                <a:rPr lang="en-US" sz="25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rweiterung</a:t>
              </a:r>
              <a:r>
                <a:rPr lang="en-US" sz="25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von </a:t>
              </a:r>
              <a:r>
                <a:rPr lang="en-US" sz="25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Wärmenetzen</a:t>
              </a:r>
              <a:r>
                <a:rPr lang="en-US" sz="25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in </a:t>
              </a:r>
              <a:r>
                <a:rPr lang="en-US" sz="25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stehenden</a:t>
              </a:r>
              <a:r>
                <a:rPr lang="en-US" sz="25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25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Wohngebieten</a:t>
              </a:r>
              <a:r>
                <a:rPr lang="en-US" sz="25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25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zw</a:t>
              </a:r>
              <a:r>
                <a:rPr lang="en-US" sz="25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. Anschluss- und </a:t>
              </a:r>
              <a:r>
                <a:rPr lang="en-US" sz="25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nutzungszwang</a:t>
              </a:r>
              <a:endParaRPr lang="en-US" sz="25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401075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4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5163544-5EB9-ED11-BFE1-F577EFDAC69D}"/>
              </a:ext>
            </a:extLst>
          </p:cNvPr>
          <p:cNvGrpSpPr/>
          <p:nvPr/>
        </p:nvGrpSpPr>
        <p:grpSpPr>
          <a:xfrm>
            <a:off x="-15767" y="2291998"/>
            <a:ext cx="185302" cy="7556180"/>
            <a:chOff x="-34161" y="24950"/>
            <a:chExt cx="247070" cy="10074907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27111EF6-9638-799F-5D65-5A363FACA5FD}"/>
                </a:ext>
              </a:extLst>
            </p:cNvPr>
            <p:cNvSpPr txBox="1"/>
            <p:nvPr/>
          </p:nvSpPr>
          <p:spPr>
            <a:xfrm rot="16200000">
              <a:off x="-4463241" y="4477619"/>
              <a:ext cx="9128820" cy="22348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BA 2022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, S. 91 f.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rteil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undesverwaltungsgerich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(2016)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8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EA730C6E-750F-0DD9-A110-A5029B72DC2C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12" name="Group 36">
            <a:extLst>
              <a:ext uri="{FF2B5EF4-FFF2-40B4-BE49-F238E27FC236}">
                <a16:creationId xmlns:a16="http://schemas.microsoft.com/office/drawing/2014/main" id="{2B4AB1BF-6809-D10C-53FC-EF8B62F9093C}"/>
              </a:ext>
            </a:extLst>
          </p:cNvPr>
          <p:cNvGrpSpPr/>
          <p:nvPr/>
        </p:nvGrpSpPr>
        <p:grpSpPr>
          <a:xfrm>
            <a:off x="649177" y="8282229"/>
            <a:ext cx="188501" cy="188501"/>
            <a:chOff x="0" y="0"/>
            <a:chExt cx="812800" cy="812800"/>
          </a:xfrm>
        </p:grpSpPr>
        <p:sp>
          <p:nvSpPr>
            <p:cNvPr id="13" name="Freeform 37">
              <a:extLst>
                <a:ext uri="{FF2B5EF4-FFF2-40B4-BE49-F238E27FC236}">
                  <a16:creationId xmlns:a16="http://schemas.microsoft.com/office/drawing/2014/main" id="{51BEC713-3464-B93D-9DCC-07E91F7EA399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TextBox 38">
              <a:extLst>
                <a:ext uri="{FF2B5EF4-FFF2-40B4-BE49-F238E27FC236}">
                  <a16:creationId xmlns:a16="http://schemas.microsoft.com/office/drawing/2014/main" id="{EF5C6DAD-C0DB-14C5-B37E-F3959C613F63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grpSp>
        <p:nvGrpSpPr>
          <p:cNvPr id="11" name="Group 17">
            <a:extLst>
              <a:ext uri="{FF2B5EF4-FFF2-40B4-BE49-F238E27FC236}">
                <a16:creationId xmlns:a16="http://schemas.microsoft.com/office/drawing/2014/main" id="{A72BF632-FAC8-2C3D-2402-0B2E75124649}"/>
              </a:ext>
            </a:extLst>
          </p:cNvPr>
          <p:cNvGrpSpPr/>
          <p:nvPr/>
        </p:nvGrpSpPr>
        <p:grpSpPr>
          <a:xfrm>
            <a:off x="515733" y="9407587"/>
            <a:ext cx="2341249" cy="440591"/>
            <a:chOff x="0" y="0"/>
            <a:chExt cx="662234" cy="124623"/>
          </a:xfrm>
        </p:grpSpPr>
        <p:sp>
          <p:nvSpPr>
            <p:cNvPr id="38" name="Freeform 18">
              <a:extLst>
                <a:ext uri="{FF2B5EF4-FFF2-40B4-BE49-F238E27FC236}">
                  <a16:creationId xmlns:a16="http://schemas.microsoft.com/office/drawing/2014/main" id="{4C2C24CF-64BC-D830-49B2-6F38BD665F1E}"/>
                </a:ext>
              </a:extLst>
            </p:cNvPr>
            <p:cNvSpPr/>
            <p:nvPr/>
          </p:nvSpPr>
          <p:spPr>
            <a:xfrm>
              <a:off x="0" y="0"/>
              <a:ext cx="662234" cy="124623"/>
            </a:xfrm>
            <a:custGeom>
              <a:avLst/>
              <a:gdLst/>
              <a:ahLst/>
              <a:cxnLst/>
              <a:rect l="l" t="t" r="r" b="b"/>
              <a:pathLst>
                <a:path w="662234" h="124623">
                  <a:moveTo>
                    <a:pt x="62312" y="0"/>
                  </a:moveTo>
                  <a:lnTo>
                    <a:pt x="599922" y="0"/>
                  </a:lnTo>
                  <a:cubicBezTo>
                    <a:pt x="616448" y="0"/>
                    <a:pt x="632297" y="6565"/>
                    <a:pt x="643983" y="18251"/>
                  </a:cubicBezTo>
                  <a:cubicBezTo>
                    <a:pt x="655669" y="29936"/>
                    <a:pt x="662234" y="45786"/>
                    <a:pt x="662234" y="62312"/>
                  </a:cubicBezTo>
                  <a:lnTo>
                    <a:pt x="662234" y="62312"/>
                  </a:lnTo>
                  <a:cubicBezTo>
                    <a:pt x="662234" y="78838"/>
                    <a:pt x="655669" y="94687"/>
                    <a:pt x="643983" y="106373"/>
                  </a:cubicBezTo>
                  <a:cubicBezTo>
                    <a:pt x="632297" y="118058"/>
                    <a:pt x="616448" y="124623"/>
                    <a:pt x="59992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TextBox 19">
              <a:extLst>
                <a:ext uri="{FF2B5EF4-FFF2-40B4-BE49-F238E27FC236}">
                  <a16:creationId xmlns:a16="http://schemas.microsoft.com/office/drawing/2014/main" id="{299F8778-84FD-E8AF-397F-BD262F0C4E3F}"/>
                </a:ext>
              </a:extLst>
            </p:cNvPr>
            <p:cNvSpPr txBox="1"/>
            <p:nvPr/>
          </p:nvSpPr>
          <p:spPr>
            <a:xfrm>
              <a:off x="0" y="-28575"/>
              <a:ext cx="662234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9" name="Freeform 32">
            <a:extLst>
              <a:ext uri="{FF2B5EF4-FFF2-40B4-BE49-F238E27FC236}">
                <a16:creationId xmlns:a16="http://schemas.microsoft.com/office/drawing/2014/main" id="{093BCF4E-162C-F0AC-1797-4109ED70DBAF}"/>
              </a:ext>
            </a:extLst>
          </p:cNvPr>
          <p:cNvSpPr/>
          <p:nvPr/>
        </p:nvSpPr>
        <p:spPr>
          <a:xfrm>
            <a:off x="635586" y="950344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3" y="0"/>
                </a:lnTo>
                <a:lnTo>
                  <a:pt x="233323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0" name="TextBox 40">
            <a:extLst>
              <a:ext uri="{FF2B5EF4-FFF2-40B4-BE49-F238E27FC236}">
                <a16:creationId xmlns:a16="http://schemas.microsoft.com/office/drawing/2014/main" id="{4D92BEF5-4228-15EC-6DC8-E764E2E43038}"/>
              </a:ext>
            </a:extLst>
          </p:cNvPr>
          <p:cNvSpPr txBox="1"/>
          <p:nvPr/>
        </p:nvSpPr>
        <p:spPr>
          <a:xfrm>
            <a:off x="916534" y="9500566"/>
            <a:ext cx="1765348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THG-Einsparpotenzial</a:t>
            </a:r>
          </a:p>
        </p:txBody>
      </p:sp>
    </p:spTree>
    <p:extLst>
      <p:ext uri="{BB962C8B-B14F-4D97-AF65-F5344CB8AC3E}">
        <p14:creationId xmlns:p14="http://schemas.microsoft.com/office/powerpoint/2010/main" val="17899315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Office">
  <a:themeElements>
    <a:clrScheme name="Benutzerdefiniert 3">
      <a:dk1>
        <a:srgbClr val="001432"/>
      </a:dk1>
      <a:lt1>
        <a:srgbClr val="001432"/>
      </a:lt1>
      <a:dk2>
        <a:srgbClr val="FFC80C"/>
      </a:dk2>
      <a:lt2>
        <a:srgbClr val="FEFFFF"/>
      </a:lt2>
      <a:accent1>
        <a:srgbClr val="FFC80C"/>
      </a:accent1>
      <a:accent2>
        <a:srgbClr val="00AED7"/>
      </a:accent2>
      <a:accent3>
        <a:srgbClr val="A3D769"/>
      </a:accent3>
      <a:accent4>
        <a:srgbClr val="FEFFFF"/>
      </a:accent4>
      <a:accent5>
        <a:srgbClr val="001432"/>
      </a:accent5>
      <a:accent6>
        <a:srgbClr val="001432"/>
      </a:accent6>
      <a:hlink>
        <a:srgbClr val="0563C1"/>
      </a:hlink>
      <a:folHlink>
        <a:srgbClr val="FFC80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mfindungsevents_Vorlage_Nov 22" id="{6BF04B8E-E545-456D-8C5F-128A6E7D8C3D}" vid="{37944432-ADFD-4989-938B-DA118DF2533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37</Words>
  <Application>Microsoft Office PowerPoint</Application>
  <PresentationFormat>Benutzerdefiniert</PresentationFormat>
  <Paragraphs>114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8" baseType="lpstr">
      <vt:lpstr>DM Sans 2 Bold</vt:lpstr>
      <vt:lpstr>Open Sans Bold</vt:lpstr>
      <vt:lpstr>Wingdings</vt:lpstr>
      <vt:lpstr>DM Sans 2</vt:lpstr>
      <vt:lpstr>Symbol</vt:lpstr>
      <vt:lpstr>Arial</vt:lpstr>
      <vt:lpstr>DM Sans 1</vt:lpstr>
      <vt:lpstr>Calibri</vt:lpstr>
      <vt:lpstr>Office Theme</vt:lpstr>
      <vt:lpstr>5_Office</vt:lpstr>
      <vt:lpstr>think-cell Folie</vt:lpstr>
      <vt:lpstr>LocalZero Top-Maßnahmen Wärme 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. Entwurf_PP Top-Maßnahmen</dc:title>
  <cp:lastModifiedBy>Pauline Höchter</cp:lastModifiedBy>
  <cp:revision>8</cp:revision>
  <dcterms:created xsi:type="dcterms:W3CDTF">2006-08-16T00:00:00Z</dcterms:created>
  <dcterms:modified xsi:type="dcterms:W3CDTF">2024-09-30T10:43:13Z</dcterms:modified>
  <dc:identifier>DAGMa3UTT6E</dc:identifier>
</cp:coreProperties>
</file>